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</p:sldMasterIdLst>
  <p:notesMasterIdLst>
    <p:notesMasterId r:id="rId16"/>
  </p:notesMasterIdLst>
  <p:handoutMasterIdLst>
    <p:handoutMasterId r:id="rId17"/>
  </p:handoutMasterIdLst>
  <p:sldIdLst>
    <p:sldId id="277" r:id="rId5"/>
    <p:sldId id="1482" r:id="rId6"/>
    <p:sldId id="1538" r:id="rId7"/>
    <p:sldId id="1539" r:id="rId8"/>
    <p:sldId id="1540" r:id="rId9"/>
    <p:sldId id="1541" r:id="rId10"/>
    <p:sldId id="1546" r:id="rId11"/>
    <p:sldId id="1543" r:id="rId12"/>
    <p:sldId id="1544" r:id="rId13"/>
    <p:sldId id="1545" r:id="rId14"/>
    <p:sldId id="1471" r:id="rId15"/>
  </p:sldIdLst>
  <p:sldSz cx="9144000" cy="6858000" type="screen4x3"/>
  <p:notesSz cx="6881813" cy="9296400"/>
  <p:custDataLst>
    <p:tags r:id="rId18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1EE7C405-3E86-4AEE-A889-E3E9C3B54691}">
          <p14:sldIdLst>
            <p14:sldId id="277"/>
            <p14:sldId id="1482"/>
            <p14:sldId id="1538"/>
            <p14:sldId id="1539"/>
            <p14:sldId id="1540"/>
            <p14:sldId id="1541"/>
            <p14:sldId id="1546"/>
            <p14:sldId id="1543"/>
            <p14:sldId id="1544"/>
            <p14:sldId id="1545"/>
            <p14:sldId id="1471"/>
          </p14:sldIdLst>
        </p14:section>
      </p14:sectionLst>
    </p:ext>
    <p:ext uri="{EFAFB233-063F-42B5-8137-9DF3F51BA10A}">
      <p15:sldGuideLst xmlns:p15="http://schemas.microsoft.com/office/powerpoint/2012/main">
        <p15:guide id="2" pos="204" userDrawn="1">
          <p15:clr>
            <a:srgbClr val="A4A3A4"/>
          </p15:clr>
        </p15:guide>
        <p15:guide id="3" pos="1655" userDrawn="1">
          <p15:clr>
            <a:srgbClr val="A4A3A4"/>
          </p15:clr>
        </p15:guide>
        <p15:guide id="4" pos="2154" userDrawn="1">
          <p15:clr>
            <a:srgbClr val="A4A3A4"/>
          </p15:clr>
        </p15:guide>
        <p15:guide id="5" orient="horz" pos="2614" userDrawn="1">
          <p15:clr>
            <a:srgbClr val="A4A3A4"/>
          </p15:clr>
        </p15:guide>
        <p15:guide id="7" orient="horz" pos="40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Perdomo Lorenzo" initials="FPL" lastIdx="21" clrIdx="0"/>
  <p:cmAuthor id="2" name="Ronny Quintero Leguisano" initials="RQL" lastIdx="30" clrIdx="1"/>
  <p:cmAuthor id="3" name="Óscar Palomo Díaz" initials="ÓPD" lastIdx="14" clrIdx="2">
    <p:extLst>
      <p:ext uri="{19B8F6BF-5375-455C-9EA6-DF929625EA0E}">
        <p15:presenceInfo xmlns:p15="http://schemas.microsoft.com/office/powerpoint/2012/main" userId="S::oscar.palomo@mju.es::d3c55112-9a8d-4689-970a-c1931af4e0c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6061"/>
    <a:srgbClr val="99D5E2"/>
    <a:srgbClr val="0D3E4B"/>
    <a:srgbClr val="394451"/>
    <a:srgbClr val="465362"/>
    <a:srgbClr val="0B5395"/>
    <a:srgbClr val="FAB41E"/>
    <a:srgbClr val="666666"/>
    <a:srgbClr val="043A6C"/>
    <a:srgbClr val="ECF4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74463" autoAdjust="0"/>
  </p:normalViewPr>
  <p:slideViewPr>
    <p:cSldViewPr snapToGrid="0">
      <p:cViewPr varScale="1">
        <p:scale>
          <a:sx n="118" d="100"/>
          <a:sy n="118" d="100"/>
        </p:scale>
        <p:origin x="1420" y="88"/>
      </p:cViewPr>
      <p:guideLst>
        <p:guide pos="204"/>
        <p:guide pos="1655"/>
        <p:guide pos="2154"/>
        <p:guide orient="horz" pos="2614"/>
        <p:guide orient="horz" pos="402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28"/>
        <p:guide pos="216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AF7EB5-2971-424E-A29F-EDDE4D18392D}" type="datetimeFigureOut">
              <a:rPr lang="es-ES" smtClean="0"/>
              <a:pPr/>
              <a:t>15/06/2022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F353E-6852-4E82-86D3-C8985EC6AECD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19592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98765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91BC7-D3D6-4F53-88A4-79556D8EED24}" type="datetimeFigureOut">
              <a:rPr lang="en-US" smtClean="0"/>
              <a:pPr/>
              <a:t>6/15/2022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16013" y="696913"/>
            <a:ext cx="4649787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8018" y="4416311"/>
            <a:ext cx="5505778" cy="41829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98765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80A59-04CD-4DD9-ADD2-945F8BAF6CA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608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103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8644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892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622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752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340293EA-65D7-41AF-8C73-8085F2DAF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 descr="Un reloj en la fachada de un edificio de ladrillo&#10;&#10;Descripción generada automáticamente">
            <a:extLst>
              <a:ext uri="{FF2B5EF4-FFF2-40B4-BE49-F238E27FC236}">
                <a16:creationId xmlns:a16="http://schemas.microsoft.com/office/drawing/2014/main" id="{CF60F82E-EE72-4FCF-9CE4-A848E1ED4E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50"/>
          <a:stretch/>
        </p:blipFill>
        <p:spPr>
          <a:xfrm>
            <a:off x="0" y="0"/>
            <a:ext cx="9144000" cy="5949280"/>
          </a:xfrm>
          <a:prstGeom prst="rect">
            <a:avLst/>
          </a:prstGeom>
        </p:spPr>
      </p:pic>
      <p:sp>
        <p:nvSpPr>
          <p:cNvPr id="45" name="Forma libre: forma 44">
            <a:extLst>
              <a:ext uri="{FF2B5EF4-FFF2-40B4-BE49-F238E27FC236}">
                <a16:creationId xmlns:a16="http://schemas.microsoft.com/office/drawing/2014/main" id="{013A9F5B-41A0-4BCC-805E-538DF23EAF55}"/>
              </a:ext>
            </a:extLst>
          </p:cNvPr>
          <p:cNvSpPr/>
          <p:nvPr userDrawn="1"/>
        </p:nvSpPr>
        <p:spPr>
          <a:xfrm rot="738492">
            <a:off x="-442574" y="3025343"/>
            <a:ext cx="8368685" cy="3249959"/>
          </a:xfrm>
          <a:custGeom>
            <a:avLst/>
            <a:gdLst>
              <a:gd name="connsiteX0" fmla="*/ 462155 w 8368685"/>
              <a:gd name="connsiteY0" fmla="*/ 2118176 h 3249959"/>
              <a:gd name="connsiteX1" fmla="*/ 709093 w 8368685"/>
              <a:gd name="connsiteY1" fmla="*/ 3249959 h 3249959"/>
              <a:gd name="connsiteX2" fmla="*/ 709093 w 8368685"/>
              <a:gd name="connsiteY2" fmla="*/ 3249959 h 3249959"/>
              <a:gd name="connsiteX3" fmla="*/ 0 w 8368685"/>
              <a:gd name="connsiteY3" fmla="*/ 0 h 3249959"/>
              <a:gd name="connsiteX4" fmla="*/ 8368685 w 8368685"/>
              <a:gd name="connsiteY4" fmla="*/ 0 h 3249959"/>
              <a:gd name="connsiteX5" fmla="*/ 111668 w 8368685"/>
              <a:gd name="connsiteY5" fmla="*/ 511803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68685" h="3249959">
                <a:moveTo>
                  <a:pt x="462155" y="2118176"/>
                </a:moveTo>
                <a:lnTo>
                  <a:pt x="709093" y="3249959"/>
                </a:lnTo>
                <a:lnTo>
                  <a:pt x="709093" y="3249959"/>
                </a:lnTo>
                <a:close/>
                <a:moveTo>
                  <a:pt x="0" y="0"/>
                </a:moveTo>
                <a:lnTo>
                  <a:pt x="8368685" y="0"/>
                </a:lnTo>
                <a:lnTo>
                  <a:pt x="111668" y="51180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4" name="Forma libre: forma 43">
            <a:extLst>
              <a:ext uri="{FF2B5EF4-FFF2-40B4-BE49-F238E27FC236}">
                <a16:creationId xmlns:a16="http://schemas.microsoft.com/office/drawing/2014/main" id="{366CA665-854E-4CC1-BE3E-AEA1D573D914}"/>
              </a:ext>
            </a:extLst>
          </p:cNvPr>
          <p:cNvSpPr/>
          <p:nvPr userDrawn="1"/>
        </p:nvSpPr>
        <p:spPr>
          <a:xfrm rot="618331">
            <a:off x="-97817" y="3246983"/>
            <a:ext cx="9199428" cy="263993"/>
          </a:xfrm>
          <a:custGeom>
            <a:avLst/>
            <a:gdLst>
              <a:gd name="connsiteX0" fmla="*/ 0 w 9199428"/>
              <a:gd name="connsiteY0" fmla="*/ 0 h 263993"/>
              <a:gd name="connsiteX1" fmla="*/ 9196763 w 9199428"/>
              <a:gd name="connsiteY1" fmla="*/ 0 h 263993"/>
              <a:gd name="connsiteX2" fmla="*/ 9199428 w 9199428"/>
              <a:gd name="connsiteY2" fmla="*/ 17290 h 263993"/>
              <a:gd name="connsiteX3" fmla="*/ 48002 w 9199428"/>
              <a:gd name="connsiteY3" fmla="*/ 263993 h 26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99428" h="263993">
                <a:moveTo>
                  <a:pt x="0" y="0"/>
                </a:moveTo>
                <a:lnTo>
                  <a:pt x="9196763" y="0"/>
                </a:lnTo>
                <a:lnTo>
                  <a:pt x="9199428" y="17290"/>
                </a:lnTo>
                <a:lnTo>
                  <a:pt x="48002" y="263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FDBDE62-8E4E-4C72-A6F5-E6C1A362D933}"/>
              </a:ext>
            </a:extLst>
          </p:cNvPr>
          <p:cNvSpPr/>
          <p:nvPr userDrawn="1"/>
        </p:nvSpPr>
        <p:spPr>
          <a:xfrm rot="525679">
            <a:off x="-301913" y="3385694"/>
            <a:ext cx="9323828" cy="3249959"/>
          </a:xfrm>
          <a:custGeom>
            <a:avLst/>
            <a:gdLst>
              <a:gd name="connsiteX0" fmla="*/ 0 w 9323828"/>
              <a:gd name="connsiteY0" fmla="*/ 0 h 3249959"/>
              <a:gd name="connsiteX1" fmla="*/ 9226661 w 9323828"/>
              <a:gd name="connsiteY1" fmla="*/ 0 h 3249959"/>
              <a:gd name="connsiteX2" fmla="*/ 9323828 w 9323828"/>
              <a:gd name="connsiteY2" fmla="*/ 630475 h 3249959"/>
              <a:gd name="connsiteX3" fmla="*/ 6123942 w 9323828"/>
              <a:gd name="connsiteY3" fmla="*/ 3249959 h 3249959"/>
              <a:gd name="connsiteX4" fmla="*/ 500874 w 9323828"/>
              <a:gd name="connsiteY4" fmla="*/ 3249959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23828" h="3249959">
                <a:moveTo>
                  <a:pt x="0" y="0"/>
                </a:moveTo>
                <a:lnTo>
                  <a:pt x="9226661" y="0"/>
                </a:lnTo>
                <a:lnTo>
                  <a:pt x="9323828" y="630475"/>
                </a:lnTo>
                <a:lnTo>
                  <a:pt x="6123942" y="3249959"/>
                </a:lnTo>
                <a:lnTo>
                  <a:pt x="500874" y="3249959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10418CF9-8860-4EA6-8FA8-1A06B1F83942}"/>
              </a:ext>
            </a:extLst>
          </p:cNvPr>
          <p:cNvSpPr/>
          <p:nvPr userDrawn="1"/>
        </p:nvSpPr>
        <p:spPr>
          <a:xfrm rot="525679">
            <a:off x="-89355" y="4416977"/>
            <a:ext cx="8514049" cy="2195260"/>
          </a:xfrm>
          <a:custGeom>
            <a:avLst/>
            <a:gdLst>
              <a:gd name="connsiteX0" fmla="*/ 0 w 8514049"/>
              <a:gd name="connsiteY0" fmla="*/ 837109 h 2195260"/>
              <a:gd name="connsiteX1" fmla="*/ 6240843 w 8514049"/>
              <a:gd name="connsiteY1" fmla="*/ 352487 h 2195260"/>
              <a:gd name="connsiteX2" fmla="*/ 6421651 w 8514049"/>
              <a:gd name="connsiteY2" fmla="*/ 196645 h 2195260"/>
              <a:gd name="connsiteX3" fmla="*/ 8514049 w 8514049"/>
              <a:gd name="connsiteY3" fmla="*/ 0 h 2195260"/>
              <a:gd name="connsiteX4" fmla="*/ 5832382 w 8514049"/>
              <a:gd name="connsiteY4" fmla="*/ 2195260 h 2195260"/>
              <a:gd name="connsiteX5" fmla="*/ 209314 w 8514049"/>
              <a:gd name="connsiteY5" fmla="*/ 2195260 h 219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14049" h="2195260">
                <a:moveTo>
                  <a:pt x="0" y="837109"/>
                </a:moveTo>
                <a:lnTo>
                  <a:pt x="6240843" y="352487"/>
                </a:lnTo>
                <a:lnTo>
                  <a:pt x="6421651" y="196645"/>
                </a:lnTo>
                <a:lnTo>
                  <a:pt x="8514049" y="0"/>
                </a:lnTo>
                <a:lnTo>
                  <a:pt x="5832382" y="2195260"/>
                </a:lnTo>
                <a:lnTo>
                  <a:pt x="209314" y="2195260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7" name="18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384460" y="4738207"/>
            <a:ext cx="4763604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18" name="21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384460" y="5454129"/>
            <a:ext cx="4763468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19" name="18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384460" y="3645023"/>
            <a:ext cx="4763604" cy="1008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27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Título de la presentación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85337176-BD36-4C18-8450-3A72C0339CB4}"/>
              </a:ext>
            </a:extLst>
          </p:cNvPr>
          <p:cNvCxnSpPr>
            <a:cxnSpLocks/>
          </p:cNvCxnSpPr>
          <p:nvPr userDrawn="1"/>
        </p:nvCxnSpPr>
        <p:spPr>
          <a:xfrm>
            <a:off x="375658" y="4653136"/>
            <a:ext cx="478523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F60A80F9-AB66-444B-9F10-03F73C21F701}"/>
              </a:ext>
            </a:extLst>
          </p:cNvPr>
          <p:cNvSpPr/>
          <p:nvPr userDrawn="1"/>
        </p:nvSpPr>
        <p:spPr>
          <a:xfrm rot="14536795">
            <a:off x="5470462" y="2152845"/>
            <a:ext cx="3059500" cy="6451098"/>
          </a:xfrm>
          <a:custGeom>
            <a:avLst/>
            <a:gdLst>
              <a:gd name="connsiteX0" fmla="*/ 3059500 w 3059500"/>
              <a:gd name="connsiteY0" fmla="*/ 6451098 h 6451098"/>
              <a:gd name="connsiteX1" fmla="*/ 0 w 3059500"/>
              <a:gd name="connsiteY1" fmla="*/ 4843457 h 6451098"/>
              <a:gd name="connsiteX2" fmla="*/ 793198 w 3059500"/>
              <a:gd name="connsiteY2" fmla="*/ 1446374 h 6451098"/>
              <a:gd name="connsiteX3" fmla="*/ 1553208 w 3059500"/>
              <a:gd name="connsiteY3" fmla="*/ 0 h 645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9500" h="6451098">
                <a:moveTo>
                  <a:pt x="3059500" y="6451098"/>
                </a:moveTo>
                <a:lnTo>
                  <a:pt x="0" y="4843457"/>
                </a:lnTo>
                <a:lnTo>
                  <a:pt x="793198" y="1446374"/>
                </a:lnTo>
                <a:lnTo>
                  <a:pt x="1553208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343B589F-9F2E-4779-BBDF-B5623EBF1C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28" name="Rectángulo 27">
            <a:extLst>
              <a:ext uri="{FF2B5EF4-FFF2-40B4-BE49-F238E27FC236}">
                <a16:creationId xmlns:a16="http://schemas.microsoft.com/office/drawing/2014/main" id="{ED7DE510-7852-4BE7-A1C2-E1FFC1F1A402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29" name="CuadroTexto 15">
            <a:extLst>
              <a:ext uri="{FF2B5EF4-FFF2-40B4-BE49-F238E27FC236}">
                <a16:creationId xmlns:a16="http://schemas.microsoft.com/office/drawing/2014/main" id="{F6D5D86C-B75D-488A-8835-60821F6661A7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2055307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Í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44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AF6F07A7-7B1F-4991-8CB9-A3234572F24D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D757F954-3FA8-4895-94D3-2A3BF7120129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8AACA53-106B-4472-9D00-ECA91BC25551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45145C93-3CB9-42B5-AB02-012CAD888E4C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32852021-F90F-422A-B58C-81A3D08D2C09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F6FD16DF-6861-4D4D-AE59-DBC98ECCE0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A6F782F7-818F-41CB-9698-E011E26EB501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8AB4082F-01B3-4293-A708-AF3349C61ED5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2277748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67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a de think-cell" r:id="rId5" imgW="395" imgH="394" progId="TCLayout.ActiveDocument.1">
                  <p:embed/>
                </p:oleObj>
              </mc:Choice>
              <mc:Fallback>
                <p:oleObj name="Diapositiva de think-cell" r:id="rId5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6846D9-1D55-4859-BFE1-A59DBB33D6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1619" y="1916832"/>
            <a:ext cx="8335179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5C72D9-F988-4AB8-B723-B34FC7EEF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51620" y="935464"/>
            <a:ext cx="8335179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/>
              <a:t>Haga clic para modificar el estilo de texto del patrón</a:t>
            </a:r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E2E73D8F-5D29-447B-9E76-6B659A3C6A41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8" name="Forma libre: forma 37">
            <a:extLst>
              <a:ext uri="{FF2B5EF4-FFF2-40B4-BE49-F238E27FC236}">
                <a16:creationId xmlns:a16="http://schemas.microsoft.com/office/drawing/2014/main" id="{FD1C8F31-B638-4D58-8796-826FB0893EF8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9" name="Forma libre: forma 38">
            <a:extLst>
              <a:ext uri="{FF2B5EF4-FFF2-40B4-BE49-F238E27FC236}">
                <a16:creationId xmlns:a16="http://schemas.microsoft.com/office/drawing/2014/main" id="{B6F5AAA1-BF41-4371-8E80-30F5317E26FF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A256426E-39C1-480F-8893-51511B7F7BB6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2D43060D-A98B-464D-A050-76EB4A80CBC5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8E6A21A6-EB96-426D-9233-3E6A43A133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21" name="5 Marcador de número de diapositiva">
            <a:extLst>
              <a:ext uri="{FF2B5EF4-FFF2-40B4-BE49-F238E27FC236}">
                <a16:creationId xmlns:a16="http://schemas.microsoft.com/office/drawing/2014/main" id="{DF893BE7-590E-4A33-B8B8-FD3D8B236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4D7494A5-159F-4825-A725-037F3947DC1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17" name="Rectángulo 16">
            <a:extLst>
              <a:ext uri="{FF2B5EF4-FFF2-40B4-BE49-F238E27FC236}">
                <a16:creationId xmlns:a16="http://schemas.microsoft.com/office/drawing/2014/main" id="{051B0031-1CD9-45F0-8E7E-8961853A66F6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8" name="CuadroTexto 15">
            <a:extLst>
              <a:ext uri="{FF2B5EF4-FFF2-40B4-BE49-F238E27FC236}">
                <a16:creationId xmlns:a16="http://schemas.microsoft.com/office/drawing/2014/main" id="{D88EF1E2-F16C-477C-9669-008681EB6099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1615943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cias por su aten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81D7397D-C91D-41A4-A686-41955D1D9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168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24" name="Objeto 23" hidden="1">
                        <a:extLst>
                          <a:ext uri="{FF2B5EF4-FFF2-40B4-BE49-F238E27FC236}">
                            <a16:creationId xmlns:a16="http://schemas.microsoft.com/office/drawing/2014/main" id="{81D7397D-C91D-41A4-A686-41955D1D9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2A35B54A-82A2-4A6F-9F50-93AD981FF25F}"/>
              </a:ext>
            </a:extLst>
          </p:cNvPr>
          <p:cNvSpPr/>
          <p:nvPr userDrawn="1"/>
        </p:nvSpPr>
        <p:spPr>
          <a:xfrm rot="2653743">
            <a:off x="5292922" y="1458956"/>
            <a:ext cx="4593994" cy="263354"/>
          </a:xfrm>
          <a:custGeom>
            <a:avLst/>
            <a:gdLst>
              <a:gd name="connsiteX0" fmla="*/ 1281653 w 4593994"/>
              <a:gd name="connsiteY0" fmla="*/ 0 h 263354"/>
              <a:gd name="connsiteX1" fmla="*/ 4337634 w 4593994"/>
              <a:gd name="connsiteY1" fmla="*/ 0 h 263354"/>
              <a:gd name="connsiteX2" fmla="*/ 4426355 w 4593994"/>
              <a:gd name="connsiteY2" fmla="*/ 91142 h 263354"/>
              <a:gd name="connsiteX3" fmla="*/ 0 w 4593994"/>
              <a:gd name="connsiteY3" fmla="*/ 0 h 263354"/>
              <a:gd name="connsiteX4" fmla="*/ 16 w 4593994"/>
              <a:gd name="connsiteY4" fmla="*/ 0 h 263354"/>
              <a:gd name="connsiteX5" fmla="*/ 4593994 w 4593994"/>
              <a:gd name="connsiteY5" fmla="*/ 263353 h 263354"/>
              <a:gd name="connsiteX6" fmla="*/ 4593994 w 4593994"/>
              <a:gd name="connsiteY6" fmla="*/ 263354 h 26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3994" h="263354">
                <a:moveTo>
                  <a:pt x="1281653" y="0"/>
                </a:moveTo>
                <a:lnTo>
                  <a:pt x="4337634" y="0"/>
                </a:lnTo>
                <a:lnTo>
                  <a:pt x="4426355" y="91142"/>
                </a:lnTo>
                <a:close/>
                <a:moveTo>
                  <a:pt x="0" y="0"/>
                </a:moveTo>
                <a:lnTo>
                  <a:pt x="16" y="0"/>
                </a:lnTo>
                <a:lnTo>
                  <a:pt x="4593994" y="263353"/>
                </a:lnTo>
                <a:lnTo>
                  <a:pt x="4593994" y="263354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4" name="Forma libre: forma 33">
            <a:extLst>
              <a:ext uri="{FF2B5EF4-FFF2-40B4-BE49-F238E27FC236}">
                <a16:creationId xmlns:a16="http://schemas.microsoft.com/office/drawing/2014/main" id="{735770AD-F899-4F63-9F59-3C47D5BFE539}"/>
              </a:ext>
            </a:extLst>
          </p:cNvPr>
          <p:cNvSpPr/>
          <p:nvPr userDrawn="1"/>
        </p:nvSpPr>
        <p:spPr>
          <a:xfrm rot="2753350">
            <a:off x="5425189" y="1545628"/>
            <a:ext cx="4456081" cy="167283"/>
          </a:xfrm>
          <a:custGeom>
            <a:avLst/>
            <a:gdLst>
              <a:gd name="connsiteX0" fmla="*/ 39933 w 4456081"/>
              <a:gd name="connsiteY0" fmla="*/ 0 h 167283"/>
              <a:gd name="connsiteX1" fmla="*/ 4283524 w 4456081"/>
              <a:gd name="connsiteY1" fmla="*/ 1 h 167283"/>
              <a:gd name="connsiteX2" fmla="*/ 4456081 w 4456081"/>
              <a:gd name="connsiteY2" fmla="*/ 167283 h 167283"/>
              <a:gd name="connsiteX3" fmla="*/ 0 w 4456081"/>
              <a:gd name="connsiteY3" fmla="*/ 41193 h 16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56081" h="167283">
                <a:moveTo>
                  <a:pt x="39933" y="0"/>
                </a:moveTo>
                <a:lnTo>
                  <a:pt x="4283524" y="1"/>
                </a:lnTo>
                <a:lnTo>
                  <a:pt x="4456081" y="167283"/>
                </a:lnTo>
                <a:lnTo>
                  <a:pt x="0" y="41193"/>
                </a:lnTo>
                <a:close/>
              </a:path>
            </a:pathLst>
          </a:cu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9" name="Forma libre: forma 28">
            <a:extLst>
              <a:ext uri="{FF2B5EF4-FFF2-40B4-BE49-F238E27FC236}">
                <a16:creationId xmlns:a16="http://schemas.microsoft.com/office/drawing/2014/main" id="{188B82AC-2450-4084-8C3C-2B90D1710E50}"/>
              </a:ext>
            </a:extLst>
          </p:cNvPr>
          <p:cNvSpPr/>
          <p:nvPr userDrawn="1"/>
        </p:nvSpPr>
        <p:spPr>
          <a:xfrm rot="2850599">
            <a:off x="-1172268" y="-94272"/>
            <a:ext cx="11248272" cy="7246564"/>
          </a:xfrm>
          <a:custGeom>
            <a:avLst/>
            <a:gdLst>
              <a:gd name="connsiteX0" fmla="*/ 0 w 11248272"/>
              <a:gd name="connsiteY0" fmla="*/ 4538508 h 7246564"/>
              <a:gd name="connsiteX1" fmla="*/ 4157322 w 11248272"/>
              <a:gd name="connsiteY1" fmla="*/ 0 h 7246564"/>
              <a:gd name="connsiteX2" fmla="*/ 8615189 w 11248272"/>
              <a:gd name="connsiteY2" fmla="*/ 0 h 7246564"/>
              <a:gd name="connsiteX3" fmla="*/ 11248272 w 11248272"/>
              <a:gd name="connsiteY3" fmla="*/ 2411933 h 7246564"/>
              <a:gd name="connsiteX4" fmla="*/ 6819699 w 11248272"/>
              <a:gd name="connsiteY4" fmla="*/ 7246564 h 7246564"/>
              <a:gd name="connsiteX5" fmla="*/ 2956357 w 11248272"/>
              <a:gd name="connsiteY5" fmla="*/ 7246564 h 7246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8272" h="7246564">
                <a:moveTo>
                  <a:pt x="0" y="4538508"/>
                </a:moveTo>
                <a:lnTo>
                  <a:pt x="4157322" y="0"/>
                </a:lnTo>
                <a:lnTo>
                  <a:pt x="8615189" y="0"/>
                </a:lnTo>
                <a:lnTo>
                  <a:pt x="11248272" y="2411933"/>
                </a:lnTo>
                <a:lnTo>
                  <a:pt x="6819699" y="7246564"/>
                </a:lnTo>
                <a:lnTo>
                  <a:pt x="2956357" y="7246564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3BF9DB07-1B7F-40C9-BB65-CA527B8E08D8}"/>
              </a:ext>
            </a:extLst>
          </p:cNvPr>
          <p:cNvSpPr/>
          <p:nvPr userDrawn="1"/>
        </p:nvSpPr>
        <p:spPr>
          <a:xfrm rot="2850599">
            <a:off x="-2432127" y="2796095"/>
            <a:ext cx="9663014" cy="3076225"/>
          </a:xfrm>
          <a:custGeom>
            <a:avLst/>
            <a:gdLst>
              <a:gd name="connsiteX0" fmla="*/ 0 w 9663014"/>
              <a:gd name="connsiteY0" fmla="*/ 395965 h 3076225"/>
              <a:gd name="connsiteX1" fmla="*/ 34391 w 9663014"/>
              <a:gd name="connsiteY1" fmla="*/ 358421 h 3076225"/>
              <a:gd name="connsiteX2" fmla="*/ 9663014 w 9663014"/>
              <a:gd name="connsiteY2" fmla="*/ 0 h 3076225"/>
              <a:gd name="connsiteX3" fmla="*/ 6845160 w 9663014"/>
              <a:gd name="connsiteY3" fmla="*/ 3076224 h 3076225"/>
              <a:gd name="connsiteX4" fmla="*/ 2926014 w 9663014"/>
              <a:gd name="connsiteY4" fmla="*/ 3076225 h 30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63014" h="3076225">
                <a:moveTo>
                  <a:pt x="0" y="395965"/>
                </a:moveTo>
                <a:lnTo>
                  <a:pt x="34391" y="358421"/>
                </a:lnTo>
                <a:lnTo>
                  <a:pt x="9663014" y="0"/>
                </a:lnTo>
                <a:lnTo>
                  <a:pt x="6845160" y="3076224"/>
                </a:lnTo>
                <a:lnTo>
                  <a:pt x="2926014" y="3076225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9" name="Slide Number Placeholder 17">
            <a:extLst>
              <a:ext uri="{FF2B5EF4-FFF2-40B4-BE49-F238E27FC236}">
                <a16:creationId xmlns:a16="http://schemas.microsoft.com/office/drawing/2014/main" id="{4B31578C-2837-45C4-B575-B7C58CDB8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4716" y="6309320"/>
            <a:ext cx="36004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5B08E120-406B-434A-B324-A7056F63D7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2F6C803D-0EF7-4A92-A207-A532513869B9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3271879A-03EE-4E26-A2C8-F2D14DEFB96B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27468296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F5E6567F-0C9E-42E7-BABA-57C9D2BA5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7609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a de think-cell" r:id="rId9" imgW="395" imgH="394" progId="TCLayout.ActiveDocument.1">
                  <p:embed/>
                </p:oleObj>
              </mc:Choice>
              <mc:Fallback>
                <p:oleObj name="Diapositiva de think-cell" r:id="rId9" imgW="395" imgH="394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F5E6567F-0C9E-42E7-BABA-57C9D2BA5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0B5F7854-A00E-4016-B4D9-6304EBD6AAC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3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686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21" r:id="rId3"/>
    <p:sldLayoutId id="2147483716" r:id="rId4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Paloma.martineztordesillas@empresas.justicia.es" TargetMode="External"/><Relationship Id="rId2" Type="http://schemas.openxmlformats.org/officeDocument/2006/relationships/hyperlink" Target="mailto:lucia.morales@mju.es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confluence.justicia.es/confluence/pages/viewpage.action?pageId=271156965" TargetMode="External"/><Relationship Id="rId4" Type="http://schemas.openxmlformats.org/officeDocument/2006/relationships/hyperlink" Target="https://jira.justicia.es/jira/browse/PR0258-1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1"/>
          </p:nvPr>
        </p:nvSpPr>
        <p:spPr>
          <a:xfrm>
            <a:off x="384458" y="4637495"/>
            <a:ext cx="5915734" cy="532347"/>
          </a:xfrm>
        </p:spPr>
        <p:txBody>
          <a:bodyPr>
            <a:normAutofit/>
          </a:bodyPr>
          <a:lstStyle/>
          <a:p>
            <a:r>
              <a:rPr lang="es-ES_tradnl" dirty="0"/>
              <a:t>Centro de Productos Procesales Servicio Fiscalías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s-ES" dirty="0"/>
              <a:t>18  de Febrero de 2022</a:t>
            </a:r>
            <a:endParaRPr lang="es-ES_tradnl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>
          <a:xfrm>
            <a:off x="384458" y="3449300"/>
            <a:ext cx="4519887" cy="1109673"/>
          </a:xfrm>
        </p:spPr>
        <p:txBody>
          <a:bodyPr>
            <a:noAutofit/>
          </a:bodyPr>
          <a:lstStyle/>
          <a:p>
            <a:r>
              <a:rPr lang="es-ES_tradnl" sz="2862" dirty="0"/>
              <a:t>SICC Cuadro de </a:t>
            </a:r>
            <a:r>
              <a:rPr lang="es-ES_tradnl" sz="2862" dirty="0" smtClean="0"/>
              <a:t>Mando y Consultas</a:t>
            </a:r>
            <a:endParaRPr lang="es-ES_tradnl" sz="2862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10</a:t>
            </a:fld>
            <a:endParaRPr lang="es-ES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Pantallas de la aplicación </a:t>
            </a:r>
          </a:p>
        </p:txBody>
      </p:sp>
      <p:sp>
        <p:nvSpPr>
          <p:cNvPr id="9" name="Título 3"/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/>
          <a:lstStyle/>
          <a:p>
            <a:r>
              <a:rPr lang="es-ES" dirty="0" smtClean="0"/>
              <a:t>02. </a:t>
            </a:r>
            <a:r>
              <a:rPr lang="es-ES" dirty="0"/>
              <a:t>SICC Consultas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392044" y="1574956"/>
            <a:ext cx="236567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cs typeface="Times New Roman" panose="02020603050405020304" pitchFamily="18" charset="0"/>
              </a:rPr>
              <a:t>Búsqueda de procedimientos</a:t>
            </a:r>
            <a:endParaRPr lang="en-GB" sz="2800" dirty="0">
              <a:solidFill>
                <a:srgbClr val="0D3E4B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5186B91E-970C-435A-B96F-DBCC091F0A6B}"/>
              </a:ext>
            </a:extLst>
          </p:cNvPr>
          <p:cNvSpPr txBox="1"/>
          <p:nvPr/>
        </p:nvSpPr>
        <p:spPr>
          <a:xfrm>
            <a:off x="4748893" y="1555414"/>
            <a:ext cx="27404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istado de procedimientos</a:t>
            </a:r>
            <a:endParaRPr lang="en-GB" sz="2800" dirty="0">
              <a:solidFill>
                <a:srgbClr val="0D3E4B"/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4C68AC0-43B2-4457-A558-8751B9F6F8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044" y="1984638"/>
            <a:ext cx="3331908" cy="193113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D9EB04B2-A12B-4C06-9BE6-A62DDF8D66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8893" y="1943421"/>
            <a:ext cx="4149061" cy="19311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3D778F95-EF75-4930-9A4A-E23D4F0E76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8703" y="4356767"/>
            <a:ext cx="3435297" cy="1999586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438F2915-EDC0-4846-82CA-882DAFD71459}"/>
              </a:ext>
            </a:extLst>
          </p:cNvPr>
          <p:cNvSpPr txBox="1"/>
          <p:nvPr/>
        </p:nvSpPr>
        <p:spPr>
          <a:xfrm>
            <a:off x="3217639" y="4001068"/>
            <a:ext cx="263161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talle del procedimiento</a:t>
            </a:r>
            <a:endParaRPr lang="en-GB" sz="2800" dirty="0">
              <a:solidFill>
                <a:srgbClr val="0D3E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3880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texto">
            <a:extLst>
              <a:ext uri="{FF2B5EF4-FFF2-40B4-BE49-F238E27FC236}">
                <a16:creationId xmlns:a16="http://schemas.microsoft.com/office/drawing/2014/main" id="{D77EB1B5-E57D-4AED-829B-7FD7BAC2C7B0}"/>
              </a:ext>
            </a:extLst>
          </p:cNvPr>
          <p:cNvSpPr txBox="1">
            <a:spLocks/>
          </p:cNvSpPr>
          <p:nvPr/>
        </p:nvSpPr>
        <p:spPr>
          <a:xfrm>
            <a:off x="1187624" y="1196752"/>
            <a:ext cx="5088136" cy="3642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4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Ø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7000"/>
              </a:lnSpc>
              <a:defRPr/>
            </a:pPr>
            <a:r>
              <a:rPr lang="es-ES" sz="7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racias por su atención</a:t>
            </a:r>
          </a:p>
        </p:txBody>
      </p:sp>
      <p:sp>
        <p:nvSpPr>
          <p:cNvPr id="4" name="Subtitle 9">
            <a:extLst>
              <a:ext uri="{FF2B5EF4-FFF2-40B4-BE49-F238E27FC236}">
                <a16:creationId xmlns:a16="http://schemas.microsoft.com/office/drawing/2014/main" id="{53687200-5D3B-4816-B030-C1A8C088074D}"/>
              </a:ext>
            </a:extLst>
          </p:cNvPr>
          <p:cNvSpPr txBox="1">
            <a:spLocks/>
          </p:cNvSpPr>
          <p:nvPr/>
        </p:nvSpPr>
        <p:spPr bwMode="auto">
          <a:xfrm>
            <a:off x="1259631" y="3212976"/>
            <a:ext cx="7665883" cy="1153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1662" b="1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Lucía Morales Sánchez  (RUP)</a:t>
            </a: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  <a:hlinkClick r:id="rId2"/>
              </a:rPr>
              <a:t>lucia.morales@mju.es</a:t>
            </a:r>
            <a:endParaRPr lang="es-ES_tradnl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endParaRPr lang="es-ES_tradnl" sz="1662" b="1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1662" b="1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Paloma Martínez Tordesillas (</a:t>
            </a:r>
            <a:r>
              <a:rPr lang="es-ES_tradnl" sz="1662" b="1" dirty="0" err="1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RUPe</a:t>
            </a:r>
            <a:r>
              <a:rPr lang="es-ES_tradnl" sz="1662" b="1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)</a:t>
            </a: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fi-FI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  <a:hlinkClick r:id="rId3"/>
              </a:rPr>
              <a:t>Paloma.martineztordesillas@empresas.justicia.es</a:t>
            </a:r>
            <a:endParaRPr lang="fi-FI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endParaRPr lang="fi-FI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fi-FI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Proyecto Jira: </a:t>
            </a:r>
            <a:r>
              <a:rPr lang="fi-FI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  <a:hlinkClick r:id="rId4"/>
              </a:rPr>
              <a:t>https://jira.justicia.es/jira/browse/PR0258-1</a:t>
            </a:r>
            <a:endParaRPr lang="fi-FI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fi-FI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Confluence: </a:t>
            </a:r>
            <a:r>
              <a:rPr lang="fi-FI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  <a:hlinkClick r:id="rId5"/>
              </a:rPr>
              <a:t>https://confluence.justicia.es/confluence/pages/viewpage.action?pageId=271156965</a:t>
            </a:r>
            <a:endParaRPr lang="fi-FI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endParaRPr lang="es-ES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1477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00932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19 Conector recto"/>
          <p:cNvCxnSpPr/>
          <p:nvPr/>
        </p:nvCxnSpPr>
        <p:spPr>
          <a:xfrm flipH="1">
            <a:off x="5192193" y="2033441"/>
            <a:ext cx="0" cy="259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 Marcador de texto"/>
          <p:cNvSpPr txBox="1">
            <a:spLocks/>
          </p:cNvSpPr>
          <p:nvPr/>
        </p:nvSpPr>
        <p:spPr>
          <a:xfrm>
            <a:off x="5212469" y="2033441"/>
            <a:ext cx="3859910" cy="2351811"/>
          </a:xfrm>
          <a:prstGeom prst="rect">
            <a:avLst/>
          </a:prstGeom>
        </p:spPr>
        <p:txBody>
          <a:bodyPr vert="horz" lIns="84406" tIns="42203" rIns="84406" bIns="42203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ICC </a:t>
            </a:r>
            <a:r>
              <a:rPr lang="es-ES" sz="1477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uadro de Mando</a:t>
            </a:r>
          </a:p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ICC Consultas</a:t>
            </a:r>
          </a:p>
        </p:txBody>
      </p:sp>
      <p:sp>
        <p:nvSpPr>
          <p:cNvPr id="27" name="16 CuadroTexto"/>
          <p:cNvSpPr txBox="1"/>
          <p:nvPr/>
        </p:nvSpPr>
        <p:spPr>
          <a:xfrm>
            <a:off x="3726415" y="1998086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cxnSp>
        <p:nvCxnSpPr>
          <p:cNvPr id="28" name="3 Conector recto"/>
          <p:cNvCxnSpPr/>
          <p:nvPr/>
        </p:nvCxnSpPr>
        <p:spPr>
          <a:xfrm>
            <a:off x="5110132" y="2179876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9 CuadroTexto"/>
          <p:cNvSpPr txBox="1"/>
          <p:nvPr/>
        </p:nvSpPr>
        <p:spPr>
          <a:xfrm>
            <a:off x="3726415" y="2398441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cxnSp>
        <p:nvCxnSpPr>
          <p:cNvPr id="30" name="10 Conector recto"/>
          <p:cNvCxnSpPr/>
          <p:nvPr/>
        </p:nvCxnSpPr>
        <p:spPr>
          <a:xfrm>
            <a:off x="5110132" y="2584164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396155CC-034A-4733-A356-E62C9CD1152A}"/>
              </a:ext>
            </a:extLst>
          </p:cNvPr>
          <p:cNvSpPr txBox="1"/>
          <p:nvPr/>
        </p:nvSpPr>
        <p:spPr>
          <a:xfrm>
            <a:off x="63988" y="116632"/>
            <a:ext cx="45800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ndice</a:t>
            </a: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104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01. </a:t>
            </a:r>
            <a:r>
              <a:rPr lang="es-E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SICC Cuadro de Mando</a:t>
            </a:r>
            <a:endParaRPr lang="es-E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3</a:t>
            </a:fld>
            <a:endParaRPr lang="es-ES" dirty="0"/>
          </a:p>
        </p:txBody>
      </p:sp>
      <p:sp>
        <p:nvSpPr>
          <p:cNvPr id="52" name="Marcador de contenido 1">
            <a:extLst>
              <a:ext uri="{FF2B5EF4-FFF2-40B4-BE49-F238E27FC236}">
                <a16:creationId xmlns:a16="http://schemas.microsoft.com/office/drawing/2014/main" id="{71E6876F-4337-4297-8A50-43E5BD2ABD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7274" y="1538791"/>
            <a:ext cx="8335179" cy="4136517"/>
          </a:xfrm>
          <a:noFill/>
        </p:spPr>
        <p:txBody>
          <a:bodyPr wrap="square" rtlCol="0">
            <a:spAutoFit/>
          </a:bodyPr>
          <a:lstStyle/>
          <a:p>
            <a:pPr marL="0" indent="-57151" defTabSz="914400">
              <a:buNone/>
            </a:pPr>
            <a:r>
              <a:rPr lang="es-ES" sz="1800" dirty="0">
                <a:latin typeface="+mn-lt"/>
                <a:cs typeface="+mn-cs"/>
              </a:rPr>
              <a:t>Aplicación que permite realizar multitud de análisis sobre diferentes aspectos derivados de la tramitación de procedimientos en todos los Sistemas de Gestión Procesal distribuidos por el territorio. </a:t>
            </a:r>
          </a:p>
          <a:p>
            <a:pPr marL="0" indent="-57151" defTabSz="914400">
              <a:buNone/>
            </a:pPr>
            <a:endParaRPr lang="es-ES" sz="1800" dirty="0">
              <a:latin typeface="+mn-lt"/>
              <a:cs typeface="+mn-cs"/>
            </a:endParaRPr>
          </a:p>
          <a:p>
            <a:pPr marL="0" indent="-57151" defTabSz="914400">
              <a:buNone/>
            </a:pPr>
            <a:r>
              <a:rPr lang="es-ES" sz="1800" dirty="0">
                <a:latin typeface="+mn-lt"/>
                <a:cs typeface="+mn-cs"/>
              </a:rPr>
              <a:t>Destinada a todo el personal del Ministerio Fiscal, ofreciendo información de interés para cada colectivo.</a:t>
            </a:r>
          </a:p>
          <a:p>
            <a:pPr marL="0" indent="-57151" defTabSz="914400">
              <a:buNone/>
            </a:pPr>
            <a:endParaRPr lang="es-ES" sz="1800" dirty="0">
              <a:latin typeface="+mn-lt"/>
              <a:cs typeface="+mn-cs"/>
            </a:endParaRPr>
          </a:p>
          <a:p>
            <a:pPr marL="0" indent="-57151" defTabSz="914400">
              <a:buNone/>
            </a:pPr>
            <a:r>
              <a:rPr lang="es-ES" sz="1800" b="1" dirty="0">
                <a:latin typeface="+mn-lt"/>
                <a:cs typeface="+mn-cs"/>
              </a:rPr>
              <a:t>Beneficios</a:t>
            </a:r>
            <a:r>
              <a:rPr lang="es-ES" sz="1800" dirty="0">
                <a:latin typeface="+mn-lt"/>
                <a:cs typeface="+mn-cs"/>
              </a:rPr>
              <a:t>:</a:t>
            </a:r>
          </a:p>
          <a:p>
            <a:pPr marL="528637" lvl="1" indent="-285750" defTabSz="914400">
              <a:buClr>
                <a:schemeClr val="tx1"/>
              </a:buClr>
              <a:buFont typeface="Wingdings" panose="05000000000000000000" pitchFamily="2" charset="2"/>
              <a:buChar char="q"/>
            </a:pPr>
            <a:r>
              <a:rPr lang="es-ES" sz="1800" dirty="0">
                <a:latin typeface="+mn-lt"/>
                <a:cs typeface="+mn-cs"/>
              </a:rPr>
              <a:t>Ofrece información de interés adaptada a cada colectivo de usuarios.</a:t>
            </a:r>
          </a:p>
          <a:p>
            <a:pPr marL="528637" lvl="1" indent="-285750" defTabSz="914400">
              <a:buClr>
                <a:schemeClr val="tx1"/>
              </a:buClr>
              <a:buFont typeface="Wingdings" panose="05000000000000000000" pitchFamily="2" charset="2"/>
              <a:buChar char="q"/>
            </a:pPr>
            <a:r>
              <a:rPr lang="es-ES" sz="1800" dirty="0">
                <a:latin typeface="+mn-lt"/>
                <a:cs typeface="+mn-cs"/>
              </a:rPr>
              <a:t>Herramienta para la carga, revisión y modificación de las estadísticas anuales.</a:t>
            </a:r>
          </a:p>
          <a:p>
            <a:pPr marL="528637" lvl="1" indent="-285750" defTabSz="914400">
              <a:buClr>
                <a:schemeClr val="tx1"/>
              </a:buClr>
              <a:buFont typeface="Wingdings" panose="05000000000000000000" pitchFamily="2" charset="2"/>
              <a:buChar char="q"/>
            </a:pPr>
            <a:r>
              <a:rPr lang="es-ES" sz="1800" dirty="0">
                <a:latin typeface="+mn-lt"/>
                <a:cs typeface="+mn-cs"/>
              </a:rPr>
              <a:t>Análisis de la carga de trabajo de las fiscalías según distintos criterios de ponderación.</a:t>
            </a:r>
          </a:p>
          <a:p>
            <a:pPr marL="528637" lvl="1" indent="-285750" defTabSz="914400">
              <a:buClr>
                <a:schemeClr val="tx1"/>
              </a:buClr>
              <a:buFont typeface="Wingdings" panose="05000000000000000000" pitchFamily="2" charset="2"/>
              <a:buChar char="q"/>
            </a:pPr>
            <a:r>
              <a:rPr lang="es-ES" sz="1800" dirty="0">
                <a:latin typeface="+mn-lt"/>
                <a:cs typeface="+mn-cs"/>
              </a:rPr>
              <a:t>Herramienta de control de calidad de la información procesal y de la estadística </a:t>
            </a:r>
          </a:p>
        </p:txBody>
      </p:sp>
      <p:sp>
        <p:nvSpPr>
          <p:cNvPr id="76" name="CuadroTexto 75"/>
          <p:cNvSpPr txBox="1"/>
          <p:nvPr/>
        </p:nvSpPr>
        <p:spPr>
          <a:xfrm>
            <a:off x="6409720" y="6427776"/>
            <a:ext cx="449162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750" dirty="0"/>
              <a:t>Futuro</a:t>
            </a: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SICC Cuadro de Mando </a:t>
            </a:r>
          </a:p>
        </p:txBody>
      </p:sp>
    </p:spTree>
    <p:extLst>
      <p:ext uri="{BB962C8B-B14F-4D97-AF65-F5344CB8AC3E}">
        <p14:creationId xmlns:p14="http://schemas.microsoft.com/office/powerpoint/2010/main" val="8888809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ángulo redondeado 100"/>
          <p:cNvSpPr/>
          <p:nvPr/>
        </p:nvSpPr>
        <p:spPr>
          <a:xfrm>
            <a:off x="287274" y="3992533"/>
            <a:ext cx="8705335" cy="182488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01. </a:t>
            </a:r>
            <a:r>
              <a:rPr lang="es-ES" dirty="0"/>
              <a:t>SICC Cuadro de Mando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4</a:t>
            </a:fld>
            <a:endParaRPr lang="es-ES" dirty="0"/>
          </a:p>
        </p:txBody>
      </p:sp>
      <p:grpSp>
        <p:nvGrpSpPr>
          <p:cNvPr id="68" name="Grupo 67"/>
          <p:cNvGrpSpPr/>
          <p:nvPr/>
        </p:nvGrpSpPr>
        <p:grpSpPr>
          <a:xfrm>
            <a:off x="4836022" y="4424854"/>
            <a:ext cx="418523" cy="417201"/>
            <a:chOff x="841387" y="2663374"/>
            <a:chExt cx="480182" cy="480181"/>
          </a:xfrm>
        </p:grpSpPr>
        <p:pic>
          <p:nvPicPr>
            <p:cNvPr id="69" name="Imagen 6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1387" y="2663374"/>
              <a:ext cx="480182" cy="480181"/>
            </a:xfrm>
            <a:prstGeom prst="rect">
              <a:avLst/>
            </a:prstGeom>
          </p:spPr>
        </p:pic>
        <p:grpSp>
          <p:nvGrpSpPr>
            <p:cNvPr id="70" name="Grupo 69"/>
            <p:cNvGrpSpPr/>
            <p:nvPr/>
          </p:nvGrpSpPr>
          <p:grpSpPr>
            <a:xfrm>
              <a:off x="879239" y="2743552"/>
              <a:ext cx="404480" cy="240520"/>
              <a:chOff x="1585412" y="2683361"/>
              <a:chExt cx="404480" cy="240520"/>
            </a:xfrm>
          </p:grpSpPr>
          <p:sp>
            <p:nvSpPr>
              <p:cNvPr id="71" name="Rectángulo 70"/>
              <p:cNvSpPr/>
              <p:nvPr/>
            </p:nvSpPr>
            <p:spPr>
              <a:xfrm>
                <a:off x="1585412" y="2683361"/>
                <a:ext cx="404480" cy="24052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ES" sz="1350"/>
              </a:p>
            </p:txBody>
          </p:sp>
          <p:pic>
            <p:nvPicPr>
              <p:cNvPr id="72" name="Imagen 7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85413" y="2720340"/>
                <a:ext cx="404478" cy="115780"/>
              </a:xfrm>
              <a:prstGeom prst="rect">
                <a:avLst/>
              </a:prstGeom>
            </p:spPr>
          </p:pic>
        </p:grpSp>
      </p:grpSp>
      <p:sp>
        <p:nvSpPr>
          <p:cNvPr id="76" name="CuadroTexto 75"/>
          <p:cNvSpPr txBox="1"/>
          <p:nvPr/>
        </p:nvSpPr>
        <p:spPr>
          <a:xfrm>
            <a:off x="6409720" y="6427776"/>
            <a:ext cx="449162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750" dirty="0"/>
              <a:t>Futuro</a:t>
            </a: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 rot="16200000">
            <a:off x="-197884" y="2553026"/>
            <a:ext cx="1499493" cy="347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1" dirty="0">
                <a:solidFill>
                  <a:srgbClr val="0D3E4B"/>
                </a:solidFill>
              </a:rPr>
              <a:t>Actualmente</a:t>
            </a:r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1292549" y="2000147"/>
            <a:ext cx="2221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TIEMPOS Y VOLÚMENES</a:t>
            </a:r>
            <a:endParaRPr lang="es-ES" sz="1400" dirty="0">
              <a:solidFill>
                <a:schemeClr val="tx2"/>
              </a:solidFill>
            </a:endParaRP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826603" y="2351087"/>
            <a:ext cx="25200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Análisis de Tiempos y Volúmenes en la tramitación de procedimientos</a:t>
            </a: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4181873" y="2005543"/>
            <a:ext cx="198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ESTADÍSTICAS</a:t>
            </a:r>
          </a:p>
        </p:txBody>
      </p:sp>
      <p:sp>
        <p:nvSpPr>
          <p:cNvPr id="85" name="Rectángulo 84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2342655" y="2931468"/>
            <a:ext cx="198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CARGAS DE TRABAJO</a:t>
            </a:r>
          </a:p>
        </p:txBody>
      </p:sp>
      <p:sp>
        <p:nvSpPr>
          <p:cNvPr id="87" name="CuadroTexto 86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3732706" y="2326761"/>
            <a:ext cx="25200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Explotación de los datos registrados en la estadística</a:t>
            </a:r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1865981" y="3255315"/>
            <a:ext cx="25200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Análisis de la carga de trabajo de cada Fiscalía</a:t>
            </a:r>
          </a:p>
        </p:txBody>
      </p:sp>
      <p:sp>
        <p:nvSpPr>
          <p:cNvPr id="90" name="CuadroTexto 89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 rot="16200000">
            <a:off x="-162977" y="4652309"/>
            <a:ext cx="1499493" cy="347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rgbClr val="0D3E4B"/>
                </a:solidFill>
              </a:rPr>
              <a:t>En el futro</a:t>
            </a:r>
          </a:p>
        </p:txBody>
      </p:sp>
      <p:sp>
        <p:nvSpPr>
          <p:cNvPr id="91" name="Rectángulo 90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1909938" y="4422204"/>
            <a:ext cx="198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ESPECIALIZACIÓN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1145912" y="4715584"/>
            <a:ext cx="299074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Generación de módulos especializados para las Fiscalías de Sala</a:t>
            </a:r>
          </a:p>
        </p:txBody>
      </p:sp>
      <p:sp>
        <p:nvSpPr>
          <p:cNvPr id="95" name="Rectángulo 94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5328089" y="4454215"/>
            <a:ext cx="24460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INTEROPERABILIDAD CTEAJE</a:t>
            </a:r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4904860" y="4791289"/>
            <a:ext cx="309322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Mejora cuantitativa y cualitativa en el envío de procedimientos judiciales</a:t>
            </a:r>
          </a:p>
        </p:txBody>
      </p:sp>
      <p:sp>
        <p:nvSpPr>
          <p:cNvPr id="6" name="Rectángulo redondeado 5"/>
          <p:cNvSpPr/>
          <p:nvPr/>
        </p:nvSpPr>
        <p:spPr>
          <a:xfrm>
            <a:off x="287274" y="1883529"/>
            <a:ext cx="8705335" cy="190253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2" name="Imagen 10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8744" y="4350606"/>
            <a:ext cx="576651" cy="420949"/>
          </a:xfrm>
          <a:prstGeom prst="rect">
            <a:avLst/>
          </a:prstGeom>
        </p:spPr>
      </p:pic>
      <p:sp>
        <p:nvSpPr>
          <p:cNvPr id="49" name="CuadroTexto 48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Funcionalidades de la aplicación</a:t>
            </a:r>
          </a:p>
        </p:txBody>
      </p:sp>
      <p:pic>
        <p:nvPicPr>
          <p:cNvPr id="50" name="Imagen 49">
            <a:extLst>
              <a:ext uri="{FF2B5EF4-FFF2-40B4-BE49-F238E27FC236}">
                <a16:creationId xmlns:a16="http://schemas.microsoft.com/office/drawing/2014/main" id="{408E8E8A-02C2-42B2-A5CA-AE7AFE112D6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7344" y="1942380"/>
            <a:ext cx="355178" cy="355178"/>
          </a:xfrm>
          <a:prstGeom prst="rect">
            <a:avLst/>
          </a:prstGeom>
        </p:spPr>
      </p:pic>
      <p:sp>
        <p:nvSpPr>
          <p:cNvPr id="51" name="Rectángulo 50">
            <a:extLst>
              <a:ext uri="{FF2B5EF4-FFF2-40B4-BE49-F238E27FC236}">
                <a16:creationId xmlns:a16="http://schemas.microsoft.com/office/drawing/2014/main" id="{66CCA9A3-7F04-44CD-9453-6DCA0DD46B69}"/>
              </a:ext>
            </a:extLst>
          </p:cNvPr>
          <p:cNvSpPr/>
          <p:nvPr/>
        </p:nvSpPr>
        <p:spPr>
          <a:xfrm>
            <a:off x="6700095" y="2012803"/>
            <a:ext cx="198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REGISTRO</a:t>
            </a: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E56F68C5-E98D-4B5B-9BA0-D6CFD8135639}"/>
              </a:ext>
            </a:extLst>
          </p:cNvPr>
          <p:cNvSpPr txBox="1"/>
          <p:nvPr/>
        </p:nvSpPr>
        <p:spPr>
          <a:xfrm>
            <a:off x="6265442" y="2334021"/>
            <a:ext cx="2520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Registro de las estadísticas anuales</a:t>
            </a:r>
          </a:p>
        </p:txBody>
      </p:sp>
      <p:pic>
        <p:nvPicPr>
          <p:cNvPr id="55" name="Picture 10" descr="Logo documento vector, gráfico vectorial, imágenes de Logo documento  vectoriales de stock | Depositphotos®">
            <a:extLst>
              <a:ext uri="{FF2B5EF4-FFF2-40B4-BE49-F238E27FC236}">
                <a16:creationId xmlns:a16="http://schemas.microsoft.com/office/drawing/2014/main" id="{4D90B7F2-996C-4E67-B56D-39E03759F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911" y="1957198"/>
            <a:ext cx="474926" cy="462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Imagen 56">
            <a:extLst>
              <a:ext uri="{FF2B5EF4-FFF2-40B4-BE49-F238E27FC236}">
                <a16:creationId xmlns:a16="http://schemas.microsoft.com/office/drawing/2014/main" id="{580B7905-C94D-464A-9A36-7375EDDFCE4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763" y="1979591"/>
            <a:ext cx="303868" cy="359680"/>
          </a:xfrm>
          <a:prstGeom prst="rect">
            <a:avLst/>
          </a:prstGeom>
        </p:spPr>
      </p:pic>
      <p:pic>
        <p:nvPicPr>
          <p:cNvPr id="58" name="Imagen 57">
            <a:extLst>
              <a:ext uri="{FF2B5EF4-FFF2-40B4-BE49-F238E27FC236}">
                <a16:creationId xmlns:a16="http://schemas.microsoft.com/office/drawing/2014/main" id="{43C56350-4216-4BE3-BA9F-9F5811B895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1472" y="2883572"/>
            <a:ext cx="406768" cy="327843"/>
          </a:xfrm>
          <a:prstGeom prst="rect">
            <a:avLst/>
          </a:prstGeom>
        </p:spPr>
      </p:pic>
      <p:sp>
        <p:nvSpPr>
          <p:cNvPr id="59" name="Rectángulo 58">
            <a:extLst>
              <a:ext uri="{FF2B5EF4-FFF2-40B4-BE49-F238E27FC236}">
                <a16:creationId xmlns:a16="http://schemas.microsoft.com/office/drawing/2014/main" id="{93F8E8C7-E4E9-407D-B894-622E9018959D}"/>
              </a:ext>
            </a:extLst>
          </p:cNvPr>
          <p:cNvSpPr/>
          <p:nvPr/>
        </p:nvSpPr>
        <p:spPr>
          <a:xfrm>
            <a:off x="5194702" y="2924214"/>
            <a:ext cx="2312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CALIDAD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B6A2899E-0184-4B38-BCC2-BF7999FF0381}"/>
              </a:ext>
            </a:extLst>
          </p:cNvPr>
          <p:cNvSpPr txBox="1"/>
          <p:nvPr/>
        </p:nvSpPr>
        <p:spPr>
          <a:xfrm>
            <a:off x="4718028" y="3248061"/>
            <a:ext cx="320677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Calidad de la información recibida en procedimientos judiciales y en la estadística</a:t>
            </a:r>
          </a:p>
        </p:txBody>
      </p:sp>
      <p:pic>
        <p:nvPicPr>
          <p:cNvPr id="63" name="Imagen 62">
            <a:extLst>
              <a:ext uri="{FF2B5EF4-FFF2-40B4-BE49-F238E27FC236}">
                <a16:creationId xmlns:a16="http://schemas.microsoft.com/office/drawing/2014/main" id="{5736B8CE-B5D9-493A-8884-30A4AB3A1A6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3166" y="2946400"/>
            <a:ext cx="366167" cy="371801"/>
          </a:xfrm>
          <a:prstGeom prst="rect">
            <a:avLst/>
          </a:prstGeom>
        </p:spPr>
      </p:pic>
      <p:pic>
        <p:nvPicPr>
          <p:cNvPr id="64" name="Imagen 63">
            <a:extLst>
              <a:ext uri="{FF2B5EF4-FFF2-40B4-BE49-F238E27FC236}">
                <a16:creationId xmlns:a16="http://schemas.microsoft.com/office/drawing/2014/main" id="{811CCDC9-B444-4F46-B3F9-98322643468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185" y="4438608"/>
            <a:ext cx="366167" cy="371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2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5</a:t>
            </a:fld>
            <a:endParaRPr lang="es-ES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Pantallas de la aplicación (I) </a:t>
            </a:r>
          </a:p>
        </p:txBody>
      </p:sp>
      <p:sp>
        <p:nvSpPr>
          <p:cNvPr id="9" name="Título 3"/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/>
          <a:lstStyle/>
          <a:p>
            <a:r>
              <a:rPr lang="es-ES" dirty="0" smtClean="0"/>
              <a:t>01. </a:t>
            </a:r>
            <a:r>
              <a:rPr lang="es-ES" dirty="0"/>
              <a:t>SICC Cuadro de Mando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392044" y="1574956"/>
            <a:ext cx="19157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iempos y Volúmenes</a:t>
            </a:r>
            <a:endParaRPr lang="en-GB" sz="2800" dirty="0">
              <a:solidFill>
                <a:srgbClr val="0D3E4B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153F529-FDF8-4B48-B09A-946BADCD4A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973" y="1862614"/>
            <a:ext cx="4014080" cy="1566386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5186B91E-970C-435A-B96F-DBCC091F0A6B}"/>
              </a:ext>
            </a:extLst>
          </p:cNvPr>
          <p:cNvSpPr txBox="1"/>
          <p:nvPr/>
        </p:nvSpPr>
        <p:spPr>
          <a:xfrm>
            <a:off x="4960669" y="1555414"/>
            <a:ext cx="19157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tadísticas</a:t>
            </a:r>
            <a:endParaRPr lang="en-GB" sz="2800" dirty="0">
              <a:solidFill>
                <a:srgbClr val="0D3E4B"/>
              </a:solidFill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D08F05D4-D1FB-4E26-A977-8E2708689024}"/>
              </a:ext>
            </a:extLst>
          </p:cNvPr>
          <p:cNvSpPr txBox="1"/>
          <p:nvPr/>
        </p:nvSpPr>
        <p:spPr>
          <a:xfrm>
            <a:off x="2486013" y="4007528"/>
            <a:ext cx="14759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gistro</a:t>
            </a:r>
            <a:endParaRPr lang="en-GB" sz="2800" dirty="0">
              <a:solidFill>
                <a:srgbClr val="0D3E4B"/>
              </a:solidFill>
            </a:endParaRP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id="{6066781A-4CD4-4CF7-886D-302DB2550C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0839" y="1859174"/>
            <a:ext cx="3751117" cy="1575873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00907783-7E00-4D38-9C22-675C1F1762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5168" y="4321352"/>
            <a:ext cx="4034054" cy="1584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5501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6</a:t>
            </a:fld>
            <a:endParaRPr lang="es-ES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Pantallas de la aplicación (II) </a:t>
            </a:r>
          </a:p>
        </p:txBody>
      </p:sp>
      <p:sp>
        <p:nvSpPr>
          <p:cNvPr id="9" name="Título 3"/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/>
          <a:lstStyle/>
          <a:p>
            <a:r>
              <a:rPr lang="es-ES" dirty="0" smtClean="0"/>
              <a:t>01. </a:t>
            </a:r>
            <a:r>
              <a:rPr lang="es-ES" dirty="0"/>
              <a:t>SICC Cuadro de Mando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4625508" y="1656013"/>
            <a:ext cx="16195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lidad</a:t>
            </a:r>
            <a:endParaRPr lang="en-GB" sz="2800" dirty="0">
              <a:solidFill>
                <a:srgbClr val="0D3E4B"/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D0444D8-1ABE-4843-86E5-F217B25260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25508" y="1963790"/>
            <a:ext cx="4299248" cy="1678548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45F1672A-F154-4206-8CDD-53A82F1E2183}"/>
              </a:ext>
            </a:extLst>
          </p:cNvPr>
          <p:cNvSpPr txBox="1"/>
          <p:nvPr/>
        </p:nvSpPr>
        <p:spPr>
          <a:xfrm>
            <a:off x="406558" y="1602301"/>
            <a:ext cx="14759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rgas de Trabajo</a:t>
            </a:r>
            <a:endParaRPr lang="en-GB" sz="2800" dirty="0">
              <a:solidFill>
                <a:srgbClr val="0D3E4B"/>
              </a:solidFill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A03F983C-B9FB-4A4F-81BF-277ED892CF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558" y="1963790"/>
            <a:ext cx="3988746" cy="1597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5168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19 Conector recto"/>
          <p:cNvCxnSpPr/>
          <p:nvPr/>
        </p:nvCxnSpPr>
        <p:spPr>
          <a:xfrm flipH="1">
            <a:off x="5192193" y="2033441"/>
            <a:ext cx="0" cy="259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 Marcador de texto"/>
          <p:cNvSpPr txBox="1">
            <a:spLocks/>
          </p:cNvSpPr>
          <p:nvPr/>
        </p:nvSpPr>
        <p:spPr>
          <a:xfrm>
            <a:off x="5212469" y="2033441"/>
            <a:ext cx="3859910" cy="2351811"/>
          </a:xfrm>
          <a:prstGeom prst="rect">
            <a:avLst/>
          </a:prstGeom>
        </p:spPr>
        <p:txBody>
          <a:bodyPr vert="horz" lIns="84406" tIns="42203" rIns="84406" bIns="42203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ICC Cuadro de Mando</a:t>
            </a:r>
          </a:p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ICC Consultas</a:t>
            </a:r>
          </a:p>
        </p:txBody>
      </p:sp>
      <p:sp>
        <p:nvSpPr>
          <p:cNvPr id="27" name="16 CuadroTexto"/>
          <p:cNvSpPr txBox="1"/>
          <p:nvPr/>
        </p:nvSpPr>
        <p:spPr>
          <a:xfrm>
            <a:off x="3726415" y="1998086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cxnSp>
        <p:nvCxnSpPr>
          <p:cNvPr id="28" name="3 Conector recto"/>
          <p:cNvCxnSpPr/>
          <p:nvPr/>
        </p:nvCxnSpPr>
        <p:spPr>
          <a:xfrm>
            <a:off x="5110132" y="2179876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9 CuadroTexto"/>
          <p:cNvSpPr txBox="1"/>
          <p:nvPr/>
        </p:nvSpPr>
        <p:spPr>
          <a:xfrm>
            <a:off x="3726415" y="2398441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cxnSp>
        <p:nvCxnSpPr>
          <p:cNvPr id="30" name="10 Conector recto"/>
          <p:cNvCxnSpPr/>
          <p:nvPr/>
        </p:nvCxnSpPr>
        <p:spPr>
          <a:xfrm>
            <a:off x="5110132" y="2584164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396155CC-034A-4733-A356-E62C9CD1152A}"/>
              </a:ext>
            </a:extLst>
          </p:cNvPr>
          <p:cNvSpPr txBox="1"/>
          <p:nvPr/>
        </p:nvSpPr>
        <p:spPr>
          <a:xfrm>
            <a:off x="63988" y="116632"/>
            <a:ext cx="45800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ndice</a:t>
            </a: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6887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Marcador de contenido 1">
            <a:extLst>
              <a:ext uri="{FF2B5EF4-FFF2-40B4-BE49-F238E27FC236}">
                <a16:creationId xmlns:a16="http://schemas.microsoft.com/office/drawing/2014/main" id="{71E6876F-4337-4297-8A50-43E5BD2ABD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7274" y="1538791"/>
            <a:ext cx="8335179" cy="4025717"/>
          </a:xfrm>
          <a:noFill/>
        </p:spPr>
        <p:txBody>
          <a:bodyPr wrap="square" rtlCol="0">
            <a:spAutoFit/>
          </a:bodyPr>
          <a:lstStyle/>
          <a:p>
            <a:pPr marL="0" indent="-57151" defTabSz="914400">
              <a:buNone/>
            </a:pPr>
            <a:r>
              <a:rPr lang="es-ES" sz="1800" dirty="0">
                <a:latin typeface="+mn-lt"/>
                <a:cs typeface="+mn-cs"/>
              </a:rPr>
              <a:t>Sistema de información centralizado que aglutina la información procesal de cada CC.AA. Permite la i</a:t>
            </a:r>
            <a:r>
              <a:rPr lang="es-ES" altLang="es-ES" sz="1800" dirty="0">
                <a:latin typeface="+mn-lt"/>
                <a:cs typeface="+mn-cs"/>
              </a:rPr>
              <a:t>ntegración en un único sistema de la información procesal procedente de los diferentes sistemas origen (tanto de las CC.AA que utilizan Fortuny como de los SGP de las CC.AA transferidas). </a:t>
            </a:r>
          </a:p>
          <a:p>
            <a:pPr marL="0" indent="-57151" defTabSz="914400">
              <a:buNone/>
            </a:pPr>
            <a:r>
              <a:rPr lang="es-ES" altLang="es-ES" sz="1800" dirty="0">
                <a:latin typeface="+mn-lt"/>
                <a:cs typeface="+mn-cs"/>
              </a:rPr>
              <a:t>Disponible para todo el colectivo del Ministerio Fiscal.</a:t>
            </a:r>
          </a:p>
          <a:p>
            <a:pPr marL="0" indent="-57151" defTabSz="914400">
              <a:buNone/>
            </a:pPr>
            <a:endParaRPr lang="es-ES" sz="1800" dirty="0">
              <a:latin typeface="+mn-lt"/>
              <a:cs typeface="+mn-cs"/>
            </a:endParaRPr>
          </a:p>
          <a:p>
            <a:pPr marL="0" indent="-57151" defTabSz="914400">
              <a:buNone/>
            </a:pPr>
            <a:r>
              <a:rPr lang="es-ES" sz="1800" b="1" dirty="0">
                <a:latin typeface="+mn-lt"/>
                <a:cs typeface="+mn-cs"/>
              </a:rPr>
              <a:t>Beneficios</a:t>
            </a:r>
            <a:r>
              <a:rPr lang="es-ES" sz="1800" dirty="0">
                <a:latin typeface="+mn-lt"/>
                <a:cs typeface="+mn-cs"/>
              </a:rPr>
              <a:t>:</a:t>
            </a:r>
          </a:p>
          <a:p>
            <a:pPr marL="528637" lvl="1" indent="-285750" defTabSz="914400">
              <a:buClr>
                <a:schemeClr val="tx1"/>
              </a:buClr>
              <a:buFont typeface="Wingdings" panose="05000000000000000000" pitchFamily="2" charset="2"/>
              <a:buChar char="q"/>
            </a:pPr>
            <a:r>
              <a:rPr lang="es-ES" sz="1800" dirty="0">
                <a:latin typeface="+mn-lt"/>
                <a:cs typeface="+mn-cs"/>
              </a:rPr>
              <a:t>Único sistema que dispone de toda la información procesal donde intervenga el ministerio fiscal dentro del territorio nacional.</a:t>
            </a:r>
          </a:p>
          <a:p>
            <a:pPr marL="528637" lvl="1" indent="-285750" defTabSz="914400">
              <a:buClr>
                <a:schemeClr val="tx1"/>
              </a:buClr>
              <a:buFont typeface="Wingdings" panose="05000000000000000000" pitchFamily="2" charset="2"/>
              <a:buChar char="q"/>
            </a:pPr>
            <a:r>
              <a:rPr lang="es-ES" sz="1800" dirty="0">
                <a:latin typeface="+mn-lt"/>
                <a:cs typeface="+mn-cs"/>
              </a:rPr>
              <a:t>Posibilidad de acceder al detalle de cualquier procedimiento y consultar documentación asociada a los trámites de interés para la FGE.</a:t>
            </a:r>
          </a:p>
          <a:p>
            <a:pPr marL="528637" lvl="1" indent="-285750" defTabSz="914400">
              <a:buClr>
                <a:schemeClr val="tx1"/>
              </a:buClr>
              <a:buFont typeface="Wingdings" panose="05000000000000000000" pitchFamily="2" charset="2"/>
              <a:buChar char="q"/>
            </a:pPr>
            <a:r>
              <a:rPr lang="es-ES" altLang="es-ES" sz="1800" dirty="0">
                <a:latin typeface="+mn-lt"/>
                <a:cs typeface="+mn-cs"/>
              </a:rPr>
              <a:t>Unificación de criterios mediante la Normativa Técnica del CTEAJE y el esquema común de intercambio de información judicial.</a:t>
            </a: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02. </a:t>
            </a:r>
            <a:r>
              <a:rPr lang="es-ES" dirty="0"/>
              <a:t>SICC Consultas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8</a:t>
            </a:fld>
            <a:endParaRPr lang="es-ES" dirty="0"/>
          </a:p>
        </p:txBody>
      </p:sp>
      <p:sp>
        <p:nvSpPr>
          <p:cNvPr id="76" name="CuadroTexto 75"/>
          <p:cNvSpPr txBox="1"/>
          <p:nvPr/>
        </p:nvSpPr>
        <p:spPr>
          <a:xfrm>
            <a:off x="6409720" y="6427776"/>
            <a:ext cx="449162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750" dirty="0"/>
              <a:t>Futuro</a:t>
            </a: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SICC Consultas</a:t>
            </a:r>
          </a:p>
        </p:txBody>
      </p:sp>
    </p:spTree>
    <p:extLst>
      <p:ext uri="{BB962C8B-B14F-4D97-AF65-F5344CB8AC3E}">
        <p14:creationId xmlns:p14="http://schemas.microsoft.com/office/powerpoint/2010/main" val="20561068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ángulo redondeado 100"/>
          <p:cNvSpPr/>
          <p:nvPr/>
        </p:nvSpPr>
        <p:spPr>
          <a:xfrm>
            <a:off x="287274" y="3992533"/>
            <a:ext cx="8705335" cy="182488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02. </a:t>
            </a:r>
            <a:r>
              <a:rPr lang="es-ES" dirty="0"/>
              <a:t>SICC Consultas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9</a:t>
            </a:fld>
            <a:endParaRPr lang="es-ES" dirty="0"/>
          </a:p>
        </p:txBody>
      </p:sp>
      <p:grpSp>
        <p:nvGrpSpPr>
          <p:cNvPr id="68" name="Grupo 67"/>
          <p:cNvGrpSpPr/>
          <p:nvPr/>
        </p:nvGrpSpPr>
        <p:grpSpPr>
          <a:xfrm>
            <a:off x="2165394" y="4424854"/>
            <a:ext cx="418523" cy="417201"/>
            <a:chOff x="841387" y="2663374"/>
            <a:chExt cx="480182" cy="480181"/>
          </a:xfrm>
        </p:grpSpPr>
        <p:pic>
          <p:nvPicPr>
            <p:cNvPr id="69" name="Imagen 6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1387" y="2663374"/>
              <a:ext cx="480182" cy="480181"/>
            </a:xfrm>
            <a:prstGeom prst="rect">
              <a:avLst/>
            </a:prstGeom>
          </p:spPr>
        </p:pic>
        <p:grpSp>
          <p:nvGrpSpPr>
            <p:cNvPr id="70" name="Grupo 69"/>
            <p:cNvGrpSpPr/>
            <p:nvPr/>
          </p:nvGrpSpPr>
          <p:grpSpPr>
            <a:xfrm>
              <a:off x="879239" y="2743552"/>
              <a:ext cx="404480" cy="240520"/>
              <a:chOff x="1585412" y="2683361"/>
              <a:chExt cx="404480" cy="240520"/>
            </a:xfrm>
          </p:grpSpPr>
          <p:sp>
            <p:nvSpPr>
              <p:cNvPr id="71" name="Rectángulo 70"/>
              <p:cNvSpPr/>
              <p:nvPr/>
            </p:nvSpPr>
            <p:spPr>
              <a:xfrm>
                <a:off x="1585412" y="2683361"/>
                <a:ext cx="404480" cy="24052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ES" sz="1350"/>
              </a:p>
            </p:txBody>
          </p:sp>
          <p:pic>
            <p:nvPicPr>
              <p:cNvPr id="72" name="Imagen 7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85413" y="2720340"/>
                <a:ext cx="404478" cy="115780"/>
              </a:xfrm>
              <a:prstGeom prst="rect">
                <a:avLst/>
              </a:prstGeom>
            </p:spPr>
          </p:pic>
        </p:grpSp>
      </p:grpSp>
      <p:sp>
        <p:nvSpPr>
          <p:cNvPr id="76" name="CuadroTexto 75"/>
          <p:cNvSpPr txBox="1"/>
          <p:nvPr/>
        </p:nvSpPr>
        <p:spPr>
          <a:xfrm>
            <a:off x="6409720" y="6427776"/>
            <a:ext cx="449162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750" dirty="0"/>
              <a:t>Futuro</a:t>
            </a: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 rot="16200000">
            <a:off x="-197884" y="2553026"/>
            <a:ext cx="1499493" cy="347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1" dirty="0">
                <a:solidFill>
                  <a:srgbClr val="0D3E4B"/>
                </a:solidFill>
              </a:rPr>
              <a:t>Actualmente</a:t>
            </a:r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1292549" y="2000147"/>
            <a:ext cx="28624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CONSULTA DE PROCEDIMIENTOS</a:t>
            </a:r>
            <a:endParaRPr lang="es-ES" sz="1400" dirty="0">
              <a:solidFill>
                <a:schemeClr val="tx2"/>
              </a:solidFill>
            </a:endParaRP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826602" y="2351087"/>
            <a:ext cx="306394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Consulta de procedimientos a partir de criterios de búsqueda</a:t>
            </a: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5042169" y="2007889"/>
            <a:ext cx="28624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LISTADO DE PROCEDIMIENTOS</a:t>
            </a:r>
          </a:p>
        </p:txBody>
      </p:sp>
      <p:sp>
        <p:nvSpPr>
          <p:cNvPr id="87" name="CuadroTexto 86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4633625" y="2355139"/>
            <a:ext cx="303017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Listado de procedimientos judiciales de acuerdo a dichos criterios</a:t>
            </a:r>
          </a:p>
        </p:txBody>
      </p:sp>
      <p:sp>
        <p:nvSpPr>
          <p:cNvPr id="90" name="CuadroTexto 89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 rot="16200000">
            <a:off x="-162977" y="4652309"/>
            <a:ext cx="1499493" cy="347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rgbClr val="0D3E4B"/>
                </a:solidFill>
              </a:rPr>
              <a:t>En el futro</a:t>
            </a:r>
          </a:p>
        </p:txBody>
      </p:sp>
      <p:sp>
        <p:nvSpPr>
          <p:cNvPr id="95" name="Rectángulo 94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2616170" y="4466181"/>
            <a:ext cx="39878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INTEROPERABILIDAD CTEAJE</a:t>
            </a:r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2234232" y="4791289"/>
            <a:ext cx="496485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Establecimiento de nuevos criterios de análisis que permitan un mayor volumen de información y con una mayor calidad.</a:t>
            </a:r>
          </a:p>
        </p:txBody>
      </p:sp>
      <p:sp>
        <p:nvSpPr>
          <p:cNvPr id="6" name="Rectángulo redondeado 5"/>
          <p:cNvSpPr/>
          <p:nvPr/>
        </p:nvSpPr>
        <p:spPr>
          <a:xfrm>
            <a:off x="287274" y="1883529"/>
            <a:ext cx="8705335" cy="190253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Funcionalidades de la aplicación</a:t>
            </a:r>
          </a:p>
        </p:txBody>
      </p:sp>
      <p:sp>
        <p:nvSpPr>
          <p:cNvPr id="51" name="Rectángulo 50">
            <a:extLst>
              <a:ext uri="{FF2B5EF4-FFF2-40B4-BE49-F238E27FC236}">
                <a16:creationId xmlns:a16="http://schemas.microsoft.com/office/drawing/2014/main" id="{66CCA9A3-7F04-44CD-9453-6DCA0DD46B69}"/>
              </a:ext>
            </a:extLst>
          </p:cNvPr>
          <p:cNvSpPr/>
          <p:nvPr/>
        </p:nvSpPr>
        <p:spPr>
          <a:xfrm>
            <a:off x="1384689" y="2940910"/>
            <a:ext cx="25058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DETALLE DE PROCEDIMIENTOS</a:t>
            </a: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E56F68C5-E98D-4B5B-9BA0-D6CFD8135639}"/>
              </a:ext>
            </a:extLst>
          </p:cNvPr>
          <p:cNvSpPr txBox="1"/>
          <p:nvPr/>
        </p:nvSpPr>
        <p:spPr>
          <a:xfrm>
            <a:off x="909763" y="3248417"/>
            <a:ext cx="324521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Detalle del procedimiento: interviniente, trámite, hitos, procedimientos relacionados, etc.</a:t>
            </a:r>
          </a:p>
        </p:txBody>
      </p:sp>
      <p:pic>
        <p:nvPicPr>
          <p:cNvPr id="55" name="Picture 10" descr="Logo documento vector, gráfico vectorial, imágenes de Logo documento  vectoriales de stock | Depositphotos®">
            <a:extLst>
              <a:ext uri="{FF2B5EF4-FFF2-40B4-BE49-F238E27FC236}">
                <a16:creationId xmlns:a16="http://schemas.microsoft.com/office/drawing/2014/main" id="{4D90B7F2-996C-4E67-B56D-39E03759F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763" y="2846800"/>
            <a:ext cx="474926" cy="462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Imagen 56">
            <a:extLst>
              <a:ext uri="{FF2B5EF4-FFF2-40B4-BE49-F238E27FC236}">
                <a16:creationId xmlns:a16="http://schemas.microsoft.com/office/drawing/2014/main" id="{580B7905-C94D-464A-9A36-7375EDDFCE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7279" y="2850947"/>
            <a:ext cx="303868" cy="359680"/>
          </a:xfrm>
          <a:prstGeom prst="rect">
            <a:avLst/>
          </a:prstGeom>
        </p:spPr>
      </p:pic>
      <p:sp>
        <p:nvSpPr>
          <p:cNvPr id="59" name="Rectángulo 58">
            <a:extLst>
              <a:ext uri="{FF2B5EF4-FFF2-40B4-BE49-F238E27FC236}">
                <a16:creationId xmlns:a16="http://schemas.microsoft.com/office/drawing/2014/main" id="{93F8E8C7-E4E9-407D-B894-622E9018959D}"/>
              </a:ext>
            </a:extLst>
          </p:cNvPr>
          <p:cNvSpPr/>
          <p:nvPr/>
        </p:nvSpPr>
        <p:spPr>
          <a:xfrm>
            <a:off x="5016853" y="2921671"/>
            <a:ext cx="2312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AUDITORÍA DE CARGAS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B6A2899E-0184-4B38-BCC2-BF7999FF0381}"/>
              </a:ext>
            </a:extLst>
          </p:cNvPr>
          <p:cNvSpPr txBox="1"/>
          <p:nvPr/>
        </p:nvSpPr>
        <p:spPr>
          <a:xfrm>
            <a:off x="4644571" y="3248061"/>
            <a:ext cx="404896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Control de la calidad de los envíos realizados: volúmenes de asuntos cargados, asuntos rechazados, documentos procesados, etc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C551483-8B33-473D-9C3A-E96ECE7C97A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87763" y="1947722"/>
            <a:ext cx="342900" cy="514350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F4239A1F-0FB4-41E1-AF7C-01896569775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855" y="1918830"/>
            <a:ext cx="453004" cy="451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427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lff.M44OqM.AMO.ppA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DGTDAJ">
      <a:dk1>
        <a:srgbClr val="323C47"/>
      </a:dk1>
      <a:lt1>
        <a:srgbClr val="FFFFFF"/>
      </a:lt1>
      <a:dk2>
        <a:srgbClr val="074E8E"/>
      </a:dk2>
      <a:lt2>
        <a:srgbClr val="E3F1FD"/>
      </a:lt2>
      <a:accent1>
        <a:srgbClr val="FFC400"/>
      </a:accent1>
      <a:accent2>
        <a:srgbClr val="0B6B0D"/>
      </a:accent2>
      <a:accent3>
        <a:srgbClr val="137ADB"/>
      </a:accent3>
      <a:accent4>
        <a:srgbClr val="F05C1D"/>
      </a:accent4>
      <a:accent5>
        <a:srgbClr val="F90C27"/>
      </a:accent5>
      <a:accent6>
        <a:srgbClr val="00B050"/>
      </a:accent6>
      <a:hlink>
        <a:srgbClr val="137ADB"/>
      </a:hlink>
      <a:folHlink>
        <a:srgbClr val="F2F2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2291F10DA7BFA43804A3F10779231E3" ma:contentTypeVersion="10" ma:contentTypeDescription="Crear nuevo documento." ma:contentTypeScope="" ma:versionID="d6766a6ef9733ef091d9b8a7302f7063">
  <xsd:schema xmlns:xsd="http://www.w3.org/2001/XMLSchema" xmlns:xs="http://www.w3.org/2001/XMLSchema" xmlns:p="http://schemas.microsoft.com/office/2006/metadata/properties" xmlns:ns2="fcfaaa7b-664e-46b3-93ca-b1ef05990a14" xmlns:ns3="0c0b5c83-5b86-46c3-b34c-e524f81e498a" targetNamespace="http://schemas.microsoft.com/office/2006/metadata/properties" ma:root="true" ma:fieldsID="97660807df30d09c12642f13822c7d32" ns2:_="" ns3:_="">
    <xsd:import namespace="fcfaaa7b-664e-46b3-93ca-b1ef05990a14"/>
    <xsd:import namespace="0c0b5c83-5b86-46c3-b34c-e524f81e49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faaa7b-664e-46b3-93ca-b1ef05990a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0b5c83-5b86-46c3-b34c-e524f81e498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34BDE75-8990-445E-A5CF-3A4967CD8EEE}">
  <ds:schemaRefs>
    <ds:schemaRef ds:uri="http://purl.org/dc/dcmitype/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0c0b5c83-5b86-46c3-b34c-e524f81e498a"/>
    <ds:schemaRef ds:uri="http://purl.org/dc/elements/1.1/"/>
    <ds:schemaRef ds:uri="fcfaaa7b-664e-46b3-93ca-b1ef05990a14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5413DDA-F7BF-4ED0-B418-B62B142977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3036A1-3E4F-4B70-928A-4BC81FB1872C}">
  <ds:schemaRefs>
    <ds:schemaRef ds:uri="0c0b5c83-5b86-46c3-b34c-e524f81e498a"/>
    <ds:schemaRef ds:uri="fcfaaa7b-664e-46b3-93ca-b1ef05990a1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2</TotalTime>
  <Words>554</Words>
  <Application>Microsoft Office PowerPoint</Application>
  <PresentationFormat>Presentación en pantalla (4:3)</PresentationFormat>
  <Paragraphs>103</Paragraphs>
  <Slides>11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21" baseType="lpstr">
      <vt:lpstr>MS PGothic</vt:lpstr>
      <vt:lpstr>Arial</vt:lpstr>
      <vt:lpstr>Arial Narrow</vt:lpstr>
      <vt:lpstr>Calibri</vt:lpstr>
      <vt:lpstr>Kartika</vt:lpstr>
      <vt:lpstr>Times New Roman</vt:lpstr>
      <vt:lpstr>Verdana</vt:lpstr>
      <vt:lpstr>Wingdings</vt:lpstr>
      <vt:lpstr>Tema de Office</vt:lpstr>
      <vt:lpstr>Diapositiva de think-cell</vt:lpstr>
      <vt:lpstr>Presentación de PowerPoint</vt:lpstr>
      <vt:lpstr>Presentación de PowerPoint</vt:lpstr>
      <vt:lpstr>01. SICC Cuadro de Mando</vt:lpstr>
      <vt:lpstr>01. SICC Cuadro de Mando</vt:lpstr>
      <vt:lpstr>01. SICC Cuadro de Mando</vt:lpstr>
      <vt:lpstr>01. SICC Cuadro de Mando</vt:lpstr>
      <vt:lpstr>Presentación de PowerPoint</vt:lpstr>
      <vt:lpstr>02. SICC Consultas</vt:lpstr>
      <vt:lpstr>02. SICC Consultas</vt:lpstr>
      <vt:lpstr>02. SICC Consulta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resentaciones</dc:creator>
  <cp:lastModifiedBy>Lopez Barral, Javier</cp:lastModifiedBy>
  <cp:revision>158</cp:revision>
  <cp:lastPrinted>2016-06-29T10:24:36Z</cp:lastPrinted>
  <dcterms:created xsi:type="dcterms:W3CDTF">2012-05-17T08:07:55Z</dcterms:created>
  <dcterms:modified xsi:type="dcterms:W3CDTF">2022-06-15T11:4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291F10DA7BFA43804A3F10779231E3</vt:lpwstr>
  </property>
</Properties>
</file>